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5129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5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1505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BCAF87-1B85-431A-2751-C78E2E7FD6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D4FCBF74-B843-D777-5A1F-A8B6E8CFF3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FCBF74-B843-D777-5A1F-A8B6E8CFF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F34E90C-4AB3-EBBF-2226-8333CB80D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lum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996E7C-3552-B29E-C085-AF9D5DFA75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62A7AD3-8245-4DEA-D4C4-F5CBEF8CEEAD}"/>
              </a:ext>
            </a:extLst>
          </p:cNvPr>
          <p:cNvGrpSpPr/>
          <p:nvPr/>
        </p:nvGrpSpPr>
        <p:grpSpPr>
          <a:xfrm>
            <a:off x="628649" y="1693223"/>
            <a:ext cx="4629152" cy="935306"/>
            <a:chOff x="5138982" y="3547585"/>
            <a:chExt cx="2638320" cy="62353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38AB81C-89F1-10DD-0900-95494F311577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371600">
                <a:defRPr/>
              </a:pPr>
              <a:r>
                <a:rPr lang="en-US" sz="24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Subtitle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2761E65-4208-7826-8BE2-B5C2B9E98D93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371600">
                <a:defRPr/>
              </a:pPr>
              <a:r>
                <a:rPr lang="en-US" sz="2400" dirty="0">
                  <a:solidFill>
                    <a:srgbClr val="000000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1FE89FE-6490-61A2-559F-151B431B394F}"/>
              </a:ext>
            </a:extLst>
          </p:cNvPr>
          <p:cNvGrpSpPr/>
          <p:nvPr/>
        </p:nvGrpSpPr>
        <p:grpSpPr>
          <a:xfrm>
            <a:off x="6692161" y="1693223"/>
            <a:ext cx="4629152" cy="935306"/>
            <a:chOff x="5138982" y="3547585"/>
            <a:chExt cx="2638320" cy="62353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F4EB377-3629-F405-8342-60F6E168CFDC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371600">
                <a:defRPr/>
              </a:pPr>
              <a:r>
                <a:rPr lang="en-US" sz="24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Subtitle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2731150-7024-3969-E19E-2081A969435E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371600">
                <a:defRPr/>
              </a:pPr>
              <a:r>
                <a:rPr lang="en-US" sz="2400" dirty="0">
                  <a:solidFill>
                    <a:srgbClr val="000000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BEC662E-53BB-6714-CE24-751A31AB1C4A}"/>
              </a:ext>
            </a:extLst>
          </p:cNvPr>
          <p:cNvGrpSpPr/>
          <p:nvPr/>
        </p:nvGrpSpPr>
        <p:grpSpPr>
          <a:xfrm>
            <a:off x="12755671" y="1693223"/>
            <a:ext cx="4629152" cy="935306"/>
            <a:chOff x="5138982" y="3547585"/>
            <a:chExt cx="2638320" cy="62353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2B41731-C1F7-49F4-2F38-9B6112B09105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371600">
                <a:defRPr/>
              </a:pPr>
              <a:r>
                <a:rPr lang="en-US" sz="24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Subtitl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2F0F0A0-3DD4-6961-2EEF-8673FF1AF239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371600">
                <a:defRPr/>
              </a:pPr>
              <a:r>
                <a:rPr lang="en-US" sz="2400" dirty="0">
                  <a:solidFill>
                    <a:srgbClr val="000000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453120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75</TotalTime>
  <Words>14</Words>
  <Application>Microsoft Office PowerPoint</Application>
  <PresentationFormat>Custom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Column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14</cp:revision>
  <dcterms:created xsi:type="dcterms:W3CDTF">2006-08-16T00:00:00Z</dcterms:created>
  <dcterms:modified xsi:type="dcterms:W3CDTF">2025-10-06T10:20:29Z</dcterms:modified>
  <cp:category/>
  <dc:identifier>DAGkDf5R9EM</dc:identifier>
</cp:coreProperties>
</file>